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</p:sldMasterIdLst>
  <p:notesMasterIdLst>
    <p:notesMasterId r:id="rId27"/>
  </p:notesMasterIdLst>
  <p:handoutMasterIdLst>
    <p:handoutMasterId r:id="rId28"/>
  </p:handoutMasterIdLst>
  <p:sldIdLst>
    <p:sldId id="408" r:id="rId2"/>
    <p:sldId id="420" r:id="rId3"/>
    <p:sldId id="455" r:id="rId4"/>
    <p:sldId id="459" r:id="rId5"/>
    <p:sldId id="447" r:id="rId6"/>
    <p:sldId id="444" r:id="rId7"/>
    <p:sldId id="425" r:id="rId8"/>
    <p:sldId id="454" r:id="rId9"/>
    <p:sldId id="457" r:id="rId10"/>
    <p:sldId id="427" r:id="rId11"/>
    <p:sldId id="452" r:id="rId12"/>
    <p:sldId id="456" r:id="rId13"/>
    <p:sldId id="429" r:id="rId14"/>
    <p:sldId id="394" r:id="rId15"/>
    <p:sldId id="436" r:id="rId16"/>
    <p:sldId id="435" r:id="rId17"/>
    <p:sldId id="437" r:id="rId18"/>
    <p:sldId id="403" r:id="rId19"/>
    <p:sldId id="458" r:id="rId20"/>
    <p:sldId id="387" r:id="rId21"/>
    <p:sldId id="419" r:id="rId22"/>
    <p:sldId id="421" r:id="rId23"/>
    <p:sldId id="398" r:id="rId24"/>
    <p:sldId id="450" r:id="rId25"/>
    <p:sldId id="451" r:id="rId26"/>
  </p:sldIdLst>
  <p:sldSz cx="9144000" cy="5143500" type="screen16x9"/>
  <p:notesSz cx="6797675" cy="9926638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49" userDrawn="1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62" userDrawn="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2" name="BOUILLON Pierre" initials="BP" lastIdx="1" clrIdx="1">
    <p:extLst>
      <p:ext uri="{19B8F6BF-5375-455C-9EA6-DF929625EA0E}">
        <p15:presenceInfo xmlns:p15="http://schemas.microsoft.com/office/powerpoint/2012/main" userId="S-1-5-21-2043104406-512064258-1538882281-2443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5A"/>
    <a:srgbClr val="000091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996" autoAdjust="0"/>
    <p:restoredTop sz="92245" autoAdjust="0"/>
  </p:normalViewPr>
  <p:slideViewPr>
    <p:cSldViewPr showGuides="1">
      <p:cViewPr varScale="1">
        <p:scale>
          <a:sx n="95" d="100"/>
          <a:sy n="95" d="100"/>
        </p:scale>
        <p:origin x="324" y="78"/>
      </p:cViewPr>
      <p:guideLst>
        <p:guide orient="horz" pos="1620"/>
        <p:guide orient="horz" pos="191"/>
        <p:guide orient="horz" pos="849"/>
        <p:guide orient="horz" pos="821"/>
        <p:guide orient="horz" pos="3049"/>
        <p:guide orient="horz" pos="3162"/>
        <p:guide pos="2880"/>
        <p:guide pos="476"/>
        <p:guide pos="5193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06243746247748E-2"/>
          <c:y val="2.9082774049217001E-2"/>
          <c:w val="0.97918751250750447"/>
          <c:h val="0.941834451901566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25-46C1-8075-D940D284A7B4}"/>
              </c:ext>
            </c:extLst>
          </c:dPt>
          <c:dPt>
            <c:idx val="5"/>
            <c:invertIfNegative val="0"/>
            <c:bubble3D val="0"/>
            <c:spPr>
              <a:solidFill>
                <a:srgbClr val="113E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25-46C1-8075-D940D284A7B4}"/>
              </c:ext>
            </c:extLst>
          </c:dPt>
          <c:dLbls>
            <c:dLbl>
              <c:idx val="0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25-46C1-8075-D940D284A7B4}"/>
                </c:ext>
              </c:extLst>
            </c:dLbl>
            <c:dLbl>
              <c:idx val="5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125-46C1-8075-D940D284A7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.5</c:v>
                </c:pt>
                <c:pt idx="1">
                  <c:v>2.5</c:v>
                </c:pt>
                <c:pt idx="2">
                  <c:v>4</c:v>
                </c:pt>
                <c:pt idx="3">
                  <c:v>4.2</c:v>
                </c:pt>
                <c:pt idx="4">
                  <c:v>5</c:v>
                </c:pt>
                <c:pt idx="5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25-46C1-8075-D940D284A7B4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125-46C1-8075-D940D284A7B4}"/>
              </c:ext>
            </c:extLst>
          </c:dPt>
          <c:dPt>
            <c:idx val="4"/>
            <c:invertIfNegative val="0"/>
            <c:bubble3D val="0"/>
            <c:spPr>
              <a:solidFill>
                <a:srgbClr val="D2EB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125-46C1-8075-D940D284A7B4}"/>
              </c:ext>
            </c:extLst>
          </c:dPt>
          <c:dLbls>
            <c:dLbl>
              <c:idx val="1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125-46C1-8075-D940D284A7B4}"/>
                </c:ext>
              </c:extLst>
            </c:dLbl>
            <c:dLbl>
              <c:idx val="3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125-46C1-8075-D940D284A7B4}"/>
                </c:ext>
              </c:extLst>
            </c:dLbl>
            <c:dLbl>
              <c:idx val="4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125-46C1-8075-D940D284A7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.5</c:v>
                </c:pt>
                <c:pt idx="2">
                  <c:v>0.20000000000000018</c:v>
                </c:pt>
                <c:pt idx="3">
                  <c:v>0.79999999999999982</c:v>
                </c:pt>
                <c:pt idx="4">
                  <c:v>1.7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125-46C1-8075-D940D284A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164320"/>
        <c:axId val="94159968"/>
      </c:barChart>
      <c:catAx>
        <c:axId val="94164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4159968"/>
        <c:crosses val="min"/>
        <c:auto val="0"/>
        <c:lblAlgn val="ctr"/>
        <c:lblOffset val="100"/>
        <c:noMultiLvlLbl val="0"/>
      </c:catAx>
      <c:valAx>
        <c:axId val="94159968"/>
        <c:scaling>
          <c:orientation val="minMax"/>
          <c:max val="6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164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9CA400-FB8F-41B7-905B-FD54B8CD9334}" type="datetimeFigureOut">
              <a:rPr lang="fr-FR" smtClean="0"/>
              <a:t>13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F71CCC-87B7-464D-9264-088F76F2FF4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6038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3/06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162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3576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6681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3326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76557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1912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6297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5918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7939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689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9855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6202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6686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5720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320687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25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8"/>
            <a:ext cx="2520000" cy="288032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888137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4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91346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4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077185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4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44116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92075" indent="0">
              <a:spcBef>
                <a:spcPts val="500"/>
              </a:spcBef>
              <a:spcAft>
                <a:spcPts val="0"/>
              </a:spcAft>
              <a:buNone/>
              <a:tabLst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620B1E7-28CB-5340-99E1-D6CD526B04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528" y="355127"/>
            <a:ext cx="2520158" cy="146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076546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49"/>
            <a:ext cx="3240000" cy="447947"/>
          </a:xfrm>
          <a:prstGeom prst="rect">
            <a:avLst/>
          </a:prstGeom>
        </p:spPr>
        <p:txBody>
          <a:bodyPr anchor="ctr" anchorCtr="0"/>
          <a:lstStyle>
            <a:lvl1pPr algn="l">
              <a:defRPr sz="1150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65B74AF-140B-5C4A-AD2F-F9BE95FB66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5576" y="555526"/>
            <a:ext cx="5076136" cy="295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07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9993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71909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" imgW="471" imgH="470" progId="TCLayout.ActiveDocument.1">
                  <p:embed/>
                </p:oleObj>
              </mc:Choice>
              <mc:Fallback>
                <p:oleObj name="Diapositive think-cell" r:id="rId1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91E8A05D-5B0B-E544-9FB8-7A3273014EF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796632C-540E-884F-BA53-88537CCAC1E2}"/>
              </a:ext>
            </a:extLst>
          </p:cNvPr>
          <p:cNvSpPr/>
          <p:nvPr userDrawn="1"/>
        </p:nvSpPr>
        <p:spPr>
          <a:xfrm>
            <a:off x="3851920" y="411510"/>
            <a:ext cx="1440160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707654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771550"/>
            <a:ext cx="8424863" cy="53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</p:spTree>
    <p:extLst>
      <p:ext uri="{BB962C8B-B14F-4D97-AF65-F5344CB8AC3E}">
        <p14:creationId xmlns:p14="http://schemas.microsoft.com/office/powerpoint/2010/main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3" r:id="rId9"/>
    <p:sldLayoutId id="2147483824" r:id="rId10"/>
  </p:sldLayoutIdLst>
  <p:hf sldNum="0" hdr="0" ftr="0" dt="0"/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chart" Target="../charts/chart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1.emf"/><Relationship Id="rId2" Type="http://schemas.openxmlformats.org/officeDocument/2006/relationships/tags" Target="../tags/tag7.xml"/><Relationship Id="rId16" Type="http://schemas.openxmlformats.org/officeDocument/2006/relationships/oleObject" Target="../embeddings/oleObject5.bin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51520" y="1563638"/>
            <a:ext cx="8567935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Rencontres salariales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2011601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 effet immédiat et visible des mesures annoncées sur les rémunérations au second semestre 2023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06830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/mois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2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19822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795886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5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ime de pouvoir d’achat*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6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3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119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82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67543" y="2509989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0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1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4,1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03457" y="2497975"/>
            <a:ext cx="555308" cy="246221"/>
            <a:chOff x="2684173" y="2464723"/>
            <a:chExt cx="555308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1,6%</a:t>
              </a:r>
            </a:p>
          </p:txBody>
        </p:sp>
      </p:grpSp>
      <p:sp>
        <p:nvSpPr>
          <p:cNvPr id="44" name="ZoneTexte 43"/>
          <p:cNvSpPr txBox="1"/>
          <p:nvPr/>
        </p:nvSpPr>
        <p:spPr>
          <a:xfrm>
            <a:off x="323036" y="4568229"/>
            <a:ext cx="41049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Montant net prime </a:t>
            </a:r>
            <a:r>
              <a:rPr lang="fr-FR" sz="700" dirty="0" err="1">
                <a:latin typeface="Marianne" panose="02000000000000000000" pitchFamily="2" charset="0"/>
              </a:rPr>
              <a:t>moyennisé</a:t>
            </a:r>
            <a:r>
              <a:rPr lang="fr-FR" sz="700" dirty="0">
                <a:latin typeface="Marianne" panose="02000000000000000000" pitchFamily="2" charset="0"/>
              </a:rPr>
              <a:t> sur 6 mois</a:t>
            </a:r>
          </a:p>
        </p:txBody>
      </p: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64576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8245472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revalorisation durable au 1</a:t>
            </a:r>
            <a:r>
              <a:rPr lang="fr-FR" altLang="fr-FR" sz="2000" b="1" baseline="30000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r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janvier 2024 de la rémunération indiciaire net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42949"/>
            <a:ext cx="1944217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salarial (2024) par rapport à janvier 2023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7 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55941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832005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6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Distribution de 5 points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6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42949"/>
            <a:ext cx="849515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83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89145" y="2509989"/>
            <a:ext cx="2138639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au 01/01/24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3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7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6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28699" y="2497975"/>
            <a:ext cx="504825" cy="246221"/>
            <a:chOff x="2709415" y="2464723"/>
            <a:chExt cx="504825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2%</a:t>
              </a:r>
            </a:p>
          </p:txBody>
        </p:sp>
      </p:grp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736199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72083" y="1652272"/>
            <a:ext cx="8593239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Des mesures complémentaires </a:t>
            </a:r>
          </a:p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en soutien du pouvoir d’achat et pour faciliter le quotidien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86103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Quatre mesures supplémentaires </a:t>
            </a:r>
          </a:p>
        </p:txBody>
      </p:sp>
      <p:sp>
        <p:nvSpPr>
          <p:cNvPr id="2" name="Ellipse 1"/>
          <p:cNvSpPr/>
          <p:nvPr/>
        </p:nvSpPr>
        <p:spPr>
          <a:xfrm>
            <a:off x="971600" y="1222729"/>
            <a:ext cx="720080" cy="72008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0" name="Ellipse 9"/>
          <p:cNvSpPr/>
          <p:nvPr/>
        </p:nvSpPr>
        <p:spPr>
          <a:xfrm>
            <a:off x="971600" y="2080448"/>
            <a:ext cx="720080" cy="72008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1" name="Ellipse 10"/>
          <p:cNvSpPr/>
          <p:nvPr/>
        </p:nvSpPr>
        <p:spPr>
          <a:xfrm>
            <a:off x="971600" y="2938167"/>
            <a:ext cx="720080" cy="720080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sp>
        <p:nvSpPr>
          <p:cNvPr id="12" name="Ellipse 11"/>
          <p:cNvSpPr/>
          <p:nvPr/>
        </p:nvSpPr>
        <p:spPr>
          <a:xfrm>
            <a:off x="971600" y="3795886"/>
            <a:ext cx="720080" cy="720080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7" name="Rectangle 6"/>
          <p:cNvSpPr/>
          <p:nvPr/>
        </p:nvSpPr>
        <p:spPr>
          <a:xfrm>
            <a:off x="1907704" y="1222729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solidFill>
                  <a:schemeClr val="tx1"/>
                </a:solidFill>
                <a:latin typeface="Marianne" panose="02000000000000000000" pitchFamily="2" charset="0"/>
              </a:rPr>
              <a:t>Reconduction de </a:t>
            </a:r>
            <a:r>
              <a:rPr lang="fr-FR" dirty="0">
                <a:latin typeface="Marianne" panose="02000000000000000000" pitchFamily="2" charset="0"/>
              </a:rPr>
              <a:t>la </a:t>
            </a:r>
            <a:r>
              <a:rPr lang="fr-FR" b="1" dirty="0">
                <a:latin typeface="Marianne" panose="02000000000000000000" pitchFamily="2" charset="0"/>
              </a:rPr>
              <a:t>GIPA</a:t>
            </a:r>
            <a:r>
              <a:rPr lang="fr-FR" dirty="0">
                <a:latin typeface="Marianne" panose="02000000000000000000" pitchFamily="2" charset="0"/>
              </a:rPr>
              <a:t> pour 202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907704" y="2080448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es </a:t>
            </a:r>
            <a:r>
              <a:rPr lang="fr-FR" b="1" dirty="0">
                <a:latin typeface="Marianne" panose="02000000000000000000" pitchFamily="2" charset="0"/>
              </a:rPr>
              <a:t>frais de miss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07704" y="2925751"/>
            <a:ext cx="6840760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50" charset="0"/>
                <a:ea typeface="Times New Roman" panose="02020603050405020304" pitchFamily="18" charset="0"/>
              </a:rPr>
              <a:t>Meilleure prise en charge des </a:t>
            </a:r>
            <a:r>
              <a:rPr lang="fr-FR" b="1" dirty="0">
                <a:latin typeface="Marianne" panose="02000000000000000000" pitchFamily="50" charset="0"/>
                <a:ea typeface="Times New Roman" panose="02020603050405020304" pitchFamily="18" charset="0"/>
              </a:rPr>
              <a:t>abonnements aux transports collectifs</a:t>
            </a:r>
            <a:endParaRPr lang="fr-FR" b="1" dirty="0">
              <a:latin typeface="Marianne" panose="02000000000000000000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907704" y="3795886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u barème de monétisation des </a:t>
            </a:r>
            <a:r>
              <a:rPr lang="fr-FR" b="1" dirty="0">
                <a:latin typeface="Marianne" panose="02000000000000000000" pitchFamily="2" charset="0"/>
              </a:rPr>
              <a:t>CET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540725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>
          <a:xfrm>
            <a:off x="6037010" y="1327342"/>
            <a:ext cx="838314" cy="59715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GIPA est reconduite pour 2023</a:t>
            </a:r>
          </a:p>
        </p:txBody>
      </p:sp>
      <p:sp>
        <p:nvSpPr>
          <p:cNvPr id="3" name="Rectangle 2"/>
          <p:cNvSpPr/>
          <p:nvPr/>
        </p:nvSpPr>
        <p:spPr>
          <a:xfrm>
            <a:off x="2195736" y="1563638"/>
            <a:ext cx="64807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a </a:t>
            </a:r>
            <a:r>
              <a:rPr lang="fr-FR" sz="1600" b="1" dirty="0">
                <a:latin typeface="Marianne" panose="02000000000000000000" pitchFamily="2" charset="0"/>
              </a:rPr>
              <a:t>garantie individuelle de pouvoir d’achat (GIPA) </a:t>
            </a:r>
            <a:r>
              <a:rPr lang="fr-FR" sz="1600" dirty="0">
                <a:latin typeface="Marianne" panose="02000000000000000000" pitchFamily="2" charset="0"/>
              </a:rPr>
              <a:t>est un mécanisme de compensation de la perte de pouvoir d’achat de la rémunération indiciaire des agents publics, utilisable depuis 2008. </a:t>
            </a:r>
            <a:r>
              <a:rPr lang="fr-FR" sz="1600" b="1" dirty="0">
                <a:latin typeface="Marianne" panose="02000000000000000000" pitchFamily="2" charset="0"/>
              </a:rPr>
              <a:t>Il est décidé de la reconduire en 2023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195736" y="3324929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C’est une indemnité versée </a:t>
            </a:r>
            <a:r>
              <a:rPr lang="fr-FR" sz="1600" b="1" dirty="0">
                <a:latin typeface="Marianne" panose="02000000000000000000" pitchFamily="2" charset="0"/>
              </a:rPr>
              <a:t>pour tous les agents dont le traitement indiciaire brut aurait évolué moins vite que l’indice des prix </a:t>
            </a:r>
            <a:r>
              <a:rPr lang="fr-FR" sz="1600" dirty="0">
                <a:latin typeface="Marianne" panose="02000000000000000000" pitchFamily="2" charset="0"/>
              </a:rPr>
              <a:t>à la consommation, en cumul sur une période de </a:t>
            </a:r>
            <a:r>
              <a:rPr lang="fr-FR" sz="1600" b="1" dirty="0">
                <a:latin typeface="Marianne" panose="02000000000000000000" pitchFamily="2" charset="0"/>
              </a:rPr>
              <a:t>4 an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278969"/>
            <a:ext cx="964729" cy="96472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625176"/>
            <a:ext cx="954142" cy="954142"/>
          </a:xfrm>
          <a:prstGeom prst="rect">
            <a:avLst/>
          </a:prstGeom>
        </p:spPr>
      </p:pic>
      <p:sp>
        <p:nvSpPr>
          <p:cNvPr id="10" name="Ellipse 9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394964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s frais de mission sont revalorisés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596737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Face à l’augmentation des coûts, il s’agir de mieux </a:t>
            </a:r>
            <a:r>
              <a:rPr lang="fr-FR" sz="1600" b="1" dirty="0">
                <a:latin typeface="Marianne" panose="02000000000000000000" pitchFamily="2" charset="0"/>
              </a:rPr>
              <a:t>compenser le prix des nuitées hôtelières et des repas </a:t>
            </a:r>
            <a:r>
              <a:rPr lang="fr-FR" sz="1600" dirty="0">
                <a:latin typeface="Marianne" panose="02000000000000000000" pitchFamily="2" charset="0"/>
              </a:rPr>
              <a:t>dans le cadre des déplacements des agents (missions, formation…)</a:t>
            </a:r>
          </a:p>
        </p:txBody>
      </p:sp>
      <p:sp>
        <p:nvSpPr>
          <p:cNvPr id="6" name="Rectangle 5"/>
          <p:cNvSpPr/>
          <p:nvPr/>
        </p:nvSpPr>
        <p:spPr>
          <a:xfrm>
            <a:off x="2195736" y="3113138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2 mesures </a:t>
            </a:r>
            <a:r>
              <a:rPr lang="fr-FR" sz="1600" dirty="0">
                <a:latin typeface="Marianne" panose="02000000000000000000" pitchFamily="2" charset="0"/>
              </a:rPr>
              <a:t>applicables</a:t>
            </a:r>
            <a:r>
              <a:rPr lang="fr-FR" sz="1600" b="1" dirty="0">
                <a:latin typeface="Marianne" panose="02000000000000000000" pitchFamily="2" charset="0"/>
              </a:rPr>
              <a:t> </a:t>
            </a:r>
            <a:r>
              <a:rPr lang="fr-FR" sz="1600" dirty="0">
                <a:latin typeface="Marianne" panose="02000000000000000000" pitchFamily="2" charset="0"/>
              </a:rPr>
              <a:t>dès la rentrée 2023 (au moins 10% en fonction des territoires)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Augmentation du </a:t>
            </a:r>
            <a:r>
              <a:rPr lang="fr-FR" sz="1600" b="1" dirty="0">
                <a:latin typeface="Marianne" panose="02000000000000000000" pitchFamily="2" charset="0"/>
              </a:rPr>
              <a:t>plafond des nuitées hôtelières</a:t>
            </a:r>
            <a:endParaRPr lang="fr-FR" sz="1600" dirty="0">
              <a:latin typeface="Marianne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Revalorisation du </a:t>
            </a:r>
            <a:r>
              <a:rPr lang="fr-FR" sz="1600" b="1" dirty="0">
                <a:latin typeface="Marianne" panose="02000000000000000000" pitchFamily="2" charset="0"/>
              </a:rPr>
              <a:t>plafond de l’indemnité repas</a:t>
            </a:r>
            <a:endParaRPr lang="fr-FR" sz="1600" dirty="0">
              <a:latin typeface="Marianne" panose="02000000000000000000" pitchFamily="2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933505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prise en charge des frais de transport est augmentée</a:t>
            </a:r>
          </a:p>
        </p:txBody>
      </p:sp>
      <p:sp>
        <p:nvSpPr>
          <p:cNvPr id="4" name="Rectangle 3"/>
          <p:cNvSpPr/>
          <p:nvPr/>
        </p:nvSpPr>
        <p:spPr>
          <a:xfrm>
            <a:off x="2131798" y="1347613"/>
            <a:ext cx="43897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600" dirty="0">
                <a:latin typeface="Marianne" panose="02000000000000000000" pitchFamily="2" charset="0"/>
              </a:rPr>
              <a:t>Prise en charge augmentée à compter de sept. 23, </a:t>
            </a:r>
            <a:r>
              <a:rPr lang="fr-FR" sz="1600" b="1" dirty="0">
                <a:latin typeface="Marianne" panose="02000000000000000000" pitchFamily="2" charset="0"/>
              </a:rPr>
              <a:t>cumulable avec le forfait mobilités durables </a:t>
            </a:r>
            <a:r>
              <a:rPr lang="fr-FR" sz="1600" dirty="0">
                <a:latin typeface="Marianne" panose="02000000000000000000" pitchFamily="2" charset="0"/>
              </a:rPr>
              <a:t>depuis le 1</a:t>
            </a:r>
            <a:r>
              <a:rPr lang="fr-FR" sz="1600" baseline="30000" dirty="0">
                <a:latin typeface="Marianne" panose="02000000000000000000" pitchFamily="2" charset="0"/>
              </a:rPr>
              <a:t>er</a:t>
            </a:r>
            <a:r>
              <a:rPr lang="fr-FR" sz="1600" dirty="0">
                <a:latin typeface="Marianne" panose="02000000000000000000" pitchFamily="2" charset="0"/>
              </a:rPr>
              <a:t> septembre 2022. Réponse à l’augmentation du coût des abonnements et à une volonté de </a:t>
            </a:r>
            <a:r>
              <a:rPr lang="fr-FR" sz="1600" b="1" dirty="0">
                <a:latin typeface="Marianne" panose="02000000000000000000" pitchFamily="2" charset="0"/>
              </a:rPr>
              <a:t>favoriser les transports collectifs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31799" y="3435846"/>
            <a:ext cx="46004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Un gain de </a:t>
            </a:r>
            <a:r>
              <a:rPr lang="fr-FR" sz="1600" b="1" dirty="0">
                <a:latin typeface="Marianne" panose="02000000000000000000" pitchFamily="2" charset="0"/>
              </a:rPr>
              <a:t>19€/mois en Ile-de-France </a:t>
            </a:r>
            <a:r>
              <a:rPr lang="fr-FR" sz="1600" dirty="0">
                <a:latin typeface="Marianne" panose="02000000000000000000" pitchFamily="2" charset="0"/>
              </a:rPr>
              <a:t>pour illustr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86188" y="1511225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143" y="2058043"/>
            <a:ext cx="1220400" cy="1220400"/>
          </a:xfrm>
          <a:prstGeom prst="rect">
            <a:avLst/>
          </a:prstGeom>
        </p:spPr>
      </p:pic>
      <p:grpSp>
        <p:nvGrpSpPr>
          <p:cNvPr id="15" name="Groupe 14"/>
          <p:cNvGrpSpPr/>
          <p:nvPr/>
        </p:nvGrpSpPr>
        <p:grpSpPr>
          <a:xfrm>
            <a:off x="7379930" y="2977896"/>
            <a:ext cx="504825" cy="246221"/>
            <a:chOff x="2709415" y="2464723"/>
            <a:chExt cx="504825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>
                  <a:latin typeface="Marianne" panose="02000000000000000000" pitchFamily="2" charset="0"/>
                </a:rPr>
                <a:t>3,5%</a:t>
              </a:r>
              <a:endParaRPr lang="fr-FR" sz="1000" b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7010453" y="4110136"/>
            <a:ext cx="1243776" cy="2618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€ + 19€ = 77€</a:t>
            </a:r>
          </a:p>
        </p:txBody>
      </p:sp>
      <p:sp>
        <p:nvSpPr>
          <p:cNvPr id="22" name="Ellipse 21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660232" y="3336658"/>
            <a:ext cx="1944217" cy="586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indiciaire (janvier 2024) + gain pouvoir d’achat lié au forfait Navigo 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2871151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 barème de monétisation des CET est revalorisé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743450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es jours de CET peuvent être utilisés ou monétisés : le barème de leur monétisation est revalorisé pour contribuer au pouvoir d’achat des agents qui les monétisent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3259968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676278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95736" y="3222724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Revalorisation de 10% des indemnités forfaitaires:</a:t>
            </a:r>
          </a:p>
          <a:p>
            <a:r>
              <a:rPr lang="fr-FR" sz="1600" dirty="0">
                <a:latin typeface="Marianne" panose="02000000000000000000" pitchFamily="2" charset="0"/>
              </a:rPr>
              <a:t>- </a:t>
            </a:r>
            <a:r>
              <a:rPr lang="fr-FR" sz="1600" b="1" dirty="0">
                <a:latin typeface="Marianne" panose="02000000000000000000" pitchFamily="2" charset="0"/>
              </a:rPr>
              <a:t>   </a:t>
            </a:r>
            <a:r>
              <a:rPr lang="fr-FR" sz="1600" dirty="0">
                <a:latin typeface="Marianne" panose="02000000000000000000" pitchFamily="2" charset="0"/>
              </a:rPr>
              <a:t>Agent de catégorie A: de 135€ brut à 15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B: de 90€ brut à 10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C: de </a:t>
            </a:r>
            <a:r>
              <a:rPr lang="fr-FR" sz="1600" dirty="0"/>
              <a:t>75€ brut à 83€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9405503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563638"/>
            <a:ext cx="8423918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gagement de l’Etat au profit de la politique salariale de près de 7% en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506877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6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471" imgH="470" progId="TCLayout.ActiveDocument.1">
                  <p:embed/>
                </p:oleObj>
              </mc:Choice>
              <mc:Fallback>
                <p:oleObj name="Diapositive think-cell" r:id="rId16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" name="Connecteur droit 40"/>
          <p:cNvCxnSpPr/>
          <p:nvPr>
            <p:custDataLst>
              <p:tags r:id="rId2"/>
            </p:custDataLst>
          </p:nvPr>
        </p:nvCxnSpPr>
        <p:spPr bwMode="auto">
          <a:xfrm>
            <a:off x="1495425" y="307498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>
            <p:custDataLst>
              <p:tags r:id="rId3"/>
            </p:custDataLst>
          </p:nvPr>
        </p:nvCxnSpPr>
        <p:spPr bwMode="auto">
          <a:xfrm>
            <a:off x="2789238" y="248443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>
            <p:custDataLst>
              <p:tags r:id="rId4"/>
            </p:custDataLst>
          </p:nvPr>
        </p:nvCxnSpPr>
        <p:spPr bwMode="auto">
          <a:xfrm>
            <a:off x="4084638" y="240665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>
            <p:custDataLst>
              <p:tags r:id="rId5"/>
            </p:custDataLst>
          </p:nvPr>
        </p:nvCxnSpPr>
        <p:spPr bwMode="auto">
          <a:xfrm>
            <a:off x="5378450" y="2092325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>
            <p:custDataLst>
              <p:tags r:id="rId6"/>
            </p:custDataLst>
          </p:nvPr>
        </p:nvCxnSpPr>
        <p:spPr bwMode="auto">
          <a:xfrm>
            <a:off x="6673850" y="138430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1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4344588"/>
              </p:ext>
            </p:extLst>
          </p:nvPr>
        </p:nvGraphicFramePr>
        <p:xfrm>
          <a:off x="404813" y="1301750"/>
          <a:ext cx="7932737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6" name="Espace réservé du texte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3088" y="4100513"/>
            <a:ext cx="1123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293F67-225F-44A1-81BB-0B3A7B165739}" type="datetime'''M''es''ur''e''''''s ''g''''''é''''nér''a''le''''''s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Mesures générales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5" name="Espace réservé du texte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71688" y="4100513"/>
            <a:ext cx="714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D17241-6BB8-43A5-8C4F-7B40A32AD216}" type="datetime'''GV''T ''''''''''''''''p''''''''''o''''s''i''t''''i''''''f''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GVT positif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86" name="Espace réservé du texte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13150" y="2376488"/>
            <a:ext cx="222250" cy="136525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7463" tIns="0" rIns="17463" bIns="0" rtlCol="0" anchor="ctr" anchorCtr="0">
            <a:noAutofit/>
          </a:bodyPr>
          <a:lstStyle>
            <a:lvl1pPr marL="920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2FC295-4EB1-42B3-9CA3-63F2D5B522BA}" type="datetime'''''''''''''''0'''',''''''''''2'''">
              <a:rPr lang="fr-FR" altLang="en-US" sz="1000" smtClean="0">
                <a:solidFill>
                  <a:schemeClr val="bg1"/>
                </a:solidFill>
                <a:latin typeface="Marianne" panose="02000000000000000000" pitchFamily="2" charset="0"/>
                <a:sym typeface="Marianne" panose="02000000000000000000" pitchFamily="2" charset="0"/>
              </a:rPr>
              <a:pPr marL="0"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</a:t>
            </a:fld>
            <a:endParaRPr lang="fr-FR" sz="1000" noProof="0" dirty="0">
              <a:solidFill>
                <a:schemeClr val="bg1"/>
              </a:solidFill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4" name="Espace réservé du texte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28974" y="4100513"/>
            <a:ext cx="9921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A53B68-B2E9-4388-86D7-EF27071BA0EC}" type="datetime'Reva''l''or''''i''s''a''''tion des bas ''d''e g''rill''''''e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Revalorisation des bas de grille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3" name="Espace réservé du text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24375" y="4100512"/>
            <a:ext cx="98901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7613D9-C707-4FCF-A4FE-0B3207917CD0}" type="datetime'''''P''''''rime de p''''o''''u''''v''oi''r d''’''''ach''a''t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Prime de pouvoir d’achat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2" name="Espace réservé du texte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19788" y="4100512"/>
            <a:ext cx="7874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813764-A0AE-4B4B-8591-A6D48C21EC1A}" type="datetime'Mesures catégorielles'' (n''otamment'''' ''ensei''gna''nts'')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Mesures catégorielles (notamment enseignants)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8" name="Espace réservé du texte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42175" y="4100513"/>
            <a:ext cx="730250" cy="337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1" dirty="0">
                <a:latin typeface="Marianne" panose="02000000000000000000" pitchFamily="2" charset="0"/>
                <a:sym typeface="Marianne" panose="02000000000000000000" pitchFamily="2" charset="0"/>
              </a:rPr>
              <a:t>Total Enveloppe Salariale</a:t>
            </a:r>
          </a:p>
        </p:txBody>
      </p:sp>
      <p:sp>
        <p:nvSpPr>
          <p:cNvPr id="98" name="Titre 1"/>
          <p:cNvSpPr txBox="1">
            <a:spLocks/>
          </p:cNvSpPr>
          <p:nvPr/>
        </p:nvSpPr>
        <p:spPr>
          <a:xfrm>
            <a:off x="487612" y="355919"/>
            <a:ext cx="8287397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’Etat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, une enveloppe salariale globale représentant une hausse de 6,8% en 2023 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487612" y="2110038"/>
            <a:ext cx="2406401" cy="2328314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9" name="ZoneTexte 148"/>
          <p:cNvSpPr txBox="1"/>
          <p:nvPr/>
        </p:nvSpPr>
        <p:spPr>
          <a:xfrm>
            <a:off x="336173" y="4438352"/>
            <a:ext cx="4948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Source: documents budgétaires 2023</a:t>
            </a:r>
          </a:p>
          <a:p>
            <a:r>
              <a:rPr lang="fr-FR" sz="700" dirty="0">
                <a:latin typeface="Marianne" panose="02000000000000000000" pitchFamily="2" charset="0"/>
              </a:rPr>
              <a:t>La masse salariale est retraitée de l’effet volume pour ne conserver que l’effet prix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666611" y="1990546"/>
            <a:ext cx="20484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 l’ensemble des agents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3065244" y="1779662"/>
            <a:ext cx="2479318" cy="2658690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7" name="ZoneTexte 136"/>
          <p:cNvSpPr txBox="1"/>
          <p:nvPr/>
        </p:nvSpPr>
        <p:spPr>
          <a:xfrm>
            <a:off x="3249667" y="1636226"/>
            <a:ext cx="2110472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s bas et moyens salair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932370" y="3260477"/>
            <a:ext cx="2122579" cy="627757"/>
          </a:xfrm>
          <a:prstGeom prst="wedgeRectCallout">
            <a:avLst>
              <a:gd name="adj1" fmla="val -65678"/>
              <a:gd name="adj2" fmla="val -2407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année pleine de la revalorisation du point 2022 (3,5% à </a:t>
            </a:r>
            <a:r>
              <a:rPr lang="fr-FR" sz="800" dirty="0" err="1">
                <a:solidFill>
                  <a:schemeClr val="tx1"/>
                </a:solidFill>
                <a:latin typeface="Marianne" panose="02000000000000000000" pitchFamily="2" charset="0"/>
              </a:rPr>
              <a:t>mi-année</a:t>
            </a:r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 donc un effet de 1,75%)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sur le second semestre des mesures 202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63888" y="2636637"/>
            <a:ext cx="1929617" cy="471643"/>
          </a:xfrm>
          <a:prstGeom prst="wedgeRectCallout">
            <a:avLst>
              <a:gd name="adj1" fmla="val -33061"/>
              <a:gd name="adj2" fmla="val -6494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s l’IMT (janvier et mai).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 des bas de grille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225348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semble de mesures salariales qui soutiennent plus particulièrement les moyens et bas salair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6290730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699792" y="2160894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A travers le système de la carrière et les grilles, </a:t>
            </a:r>
            <a:r>
              <a:rPr lang="fr-FR" sz="14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es rémunérations individuelles des fonctionnaires augmentent </a:t>
            </a: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sous l’effet 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’échelon, à l’ancienneté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e grade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e la réussite d’un concours / du bénéfice d’un dispositif de promotion interne</a:t>
            </a:r>
          </a:p>
        </p:txBody>
      </p:sp>
      <p:sp>
        <p:nvSpPr>
          <p:cNvPr id="13" name="Titre 1"/>
          <p:cNvSpPr txBox="1">
            <a:spLocks/>
          </p:cNvSpPr>
          <p:nvPr/>
        </p:nvSpPr>
        <p:spPr>
          <a:xfrm>
            <a:off x="461066" y="355852"/>
            <a:ext cx="8143381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GVT : augmentations individuelles annuelles moyennes en 2023</a:t>
            </a:r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5%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en moyenne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899592" y="2323148"/>
            <a:ext cx="1152128" cy="1060489"/>
            <a:chOff x="7202073" y="1675180"/>
            <a:chExt cx="860534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02073" y="1901947"/>
              <a:ext cx="860534" cy="390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1,5%</a:t>
              </a:r>
            </a:p>
            <a:p>
              <a:pPr algn="ctr"/>
              <a:r>
                <a:rPr lang="fr-FR" sz="1200" i="1" dirty="0">
                  <a:latin typeface="Marianne" panose="02000000000000000000" pitchFamily="2" charset="0"/>
                </a:rPr>
                <a:t>~1,5Md€</a:t>
              </a: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2267744" y="2100908"/>
            <a:ext cx="216024" cy="1504969"/>
            <a:chOff x="2339752" y="1495230"/>
            <a:chExt cx="216024" cy="1504969"/>
          </a:xfrm>
        </p:grpSpPr>
        <p:cxnSp>
          <p:nvCxnSpPr>
            <p:cNvPr id="14" name="Connecteur droit 13"/>
            <p:cNvCxnSpPr/>
            <p:nvPr/>
          </p:nvCxnSpPr>
          <p:spPr>
            <a:xfrm>
              <a:off x="2447764" y="1495230"/>
              <a:ext cx="0" cy="1504969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6" name="ZoneTexte 15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7421773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7120839" y="1203598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738" y="1742754"/>
            <a:ext cx="1221733" cy="1221733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6969495" y="3015846"/>
            <a:ext cx="1944217" cy="487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</a:rPr>
              <a:t>Gain de rémunération (2024)</a:t>
            </a:r>
          </a:p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(mesures socle + mesures annoncées aujourd’hui</a:t>
            </a:r>
            <a:r>
              <a:rPr lang="fr-FR" sz="7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427645" y="3566784"/>
            <a:ext cx="1027914" cy="22910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9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56 € (+12,5%)</a:t>
            </a:r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461067" y="35585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Mesures et travaux catégoriels en 2023 (illustrations)</a:t>
            </a:r>
          </a:p>
          <a:p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8%</a:t>
            </a:r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7594560" y="2675696"/>
            <a:ext cx="649848" cy="246221"/>
            <a:chOff x="2673959" y="2464723"/>
            <a:chExt cx="555308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673959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2,5%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33302" y="1407423"/>
            <a:ext cx="619546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7 Md€ comportant notamment 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1,1 Md€ pour une revalorisation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en faveur des enseignants au 01/09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(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9Md€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en année pleine)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mesure socle pour tous d’au moins 100€ nets par mois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00€ nets par mois dans le cadre du PACT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AES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465 M€ pour les ministères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égaliens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(Armées, Justice, Intérieur)</a:t>
            </a:r>
          </a:p>
          <a:p>
            <a:pPr lvl="1"/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our la fonction publique hospitaliè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Chantier sur les sujétions de nuit et de week-end des personnels soignant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9016480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Récapitulatif des mesures annoncées aujourd’hui</a:t>
            </a:r>
          </a:p>
        </p:txBody>
      </p:sp>
      <p:sp>
        <p:nvSpPr>
          <p:cNvPr id="5" name="Rectangle 4"/>
          <p:cNvSpPr/>
          <p:nvPr/>
        </p:nvSpPr>
        <p:spPr>
          <a:xfrm>
            <a:off x="461067" y="1087736"/>
            <a:ext cx="83039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Trois leviers principaux complémentair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Mesures indiciaires socle pour tous les agents (2,5%)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revalorisation de la valeur du point de 1,5% + attribution de 5 points de chaque échelon 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u point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5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anvier 2024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me pouvoir d’achat </a:t>
            </a:r>
            <a:r>
              <a:rPr lang="fr-FR" sz="11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ciblée sur les moyens et bas salaires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 (800€ à 300€ brut, dégressive jusqu’à 3 250€ brut/mois)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Versement effectif à compter de septembre pour l’Etat et l’hospitalière, selon délibération pour les collectivités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 err="1">
                <a:latin typeface="Marianne" panose="02000000000000000000" pitchFamily="50" charset="0"/>
                <a:ea typeface="Times New Roman" panose="02020603050405020304" pitchFamily="18" charset="0"/>
              </a:rPr>
              <a:t>Réhaussement</a:t>
            </a: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 des bas salaires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distribution de points pour rééchelonner les premiers échelons au-delà de l’ IMT</a:t>
            </a: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1 à 9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endParaRPr lang="fr-FR" sz="2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Des mesures d’accompagnemen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conduction de la GIPA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frais de mission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se en charge des transports collectifs portée de 50 à 75%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 10% des indemnités forfaitaires des jours de CE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467544" y="1364287"/>
            <a:ext cx="210652" cy="1455323"/>
            <a:chOff x="896825" y="1551112"/>
            <a:chExt cx="210652" cy="1455323"/>
          </a:xfrm>
        </p:grpSpPr>
        <p:sp>
          <p:nvSpPr>
            <p:cNvPr id="2" name="Ellipse 1"/>
            <p:cNvSpPr/>
            <p:nvPr/>
          </p:nvSpPr>
          <p:spPr>
            <a:xfrm>
              <a:off x="896825" y="1551112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6" name="Ellipse 5"/>
            <p:cNvSpPr/>
            <p:nvPr/>
          </p:nvSpPr>
          <p:spPr>
            <a:xfrm>
              <a:off x="916173" y="2287510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7" name="Ellipse 6"/>
            <p:cNvSpPr/>
            <p:nvPr/>
          </p:nvSpPr>
          <p:spPr>
            <a:xfrm>
              <a:off x="916173" y="2815131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467544" y="3322032"/>
            <a:ext cx="191304" cy="1193934"/>
            <a:chOff x="463012" y="3507854"/>
            <a:chExt cx="191304" cy="1193934"/>
          </a:xfrm>
        </p:grpSpPr>
        <p:sp>
          <p:nvSpPr>
            <p:cNvPr id="8" name="Ellipse 7"/>
            <p:cNvSpPr/>
            <p:nvPr/>
          </p:nvSpPr>
          <p:spPr>
            <a:xfrm>
              <a:off x="463012" y="3507854"/>
              <a:ext cx="191304" cy="18941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9" name="Ellipse 8"/>
            <p:cNvSpPr/>
            <p:nvPr/>
          </p:nvSpPr>
          <p:spPr>
            <a:xfrm>
              <a:off x="463012" y="3840801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10" name="Ellipse 9"/>
            <p:cNvSpPr/>
            <p:nvPr/>
          </p:nvSpPr>
          <p:spPr>
            <a:xfrm>
              <a:off x="463012" y="4175642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  <p:sp>
          <p:nvSpPr>
            <p:cNvPr id="12" name="Ellipse 11"/>
            <p:cNvSpPr/>
            <p:nvPr/>
          </p:nvSpPr>
          <p:spPr>
            <a:xfrm>
              <a:off x="463012" y="4510484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4</a:t>
              </a:r>
            </a:p>
          </p:txBody>
        </p:sp>
      </p:grp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2965054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Prochaines étap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2770865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475656" y="915566"/>
            <a:ext cx="717718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2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n-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oint d’indice et attribution de 5 points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n Conseil des ministres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d’attribution de point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pour les bas de grille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rime de pouvoir d’achat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t textes réglementaires de reconduction de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GIPA</a:t>
            </a: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er 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ugmentation du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 d’indice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et des mesures de dis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s d’indice bas salaire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llet à septembre 2023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– décrets et arrêtés pour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l’extension de la prise en charge des transports collectif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revalorisation des frais de mission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et des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montants forfaitaires de CET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</a:t>
            </a:r>
            <a:r>
              <a:rPr lang="fr-FR" sz="1200" b="1" baseline="30000" dirty="0">
                <a:latin typeface="Marianne" panose="02000000000000000000" pitchFamily="2" charset="0"/>
                <a:cs typeface="Calibri" panose="020F0502020204030204" pitchFamily="34" charset="0"/>
              </a:rPr>
              <a:t>er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 janvier 2024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t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5 points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195486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mise en œuvre des mesures à partir de juillet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1043608" y="987574"/>
            <a:ext cx="0" cy="3221744"/>
          </a:xfrm>
          <a:prstGeom prst="straightConnector1">
            <a:avLst/>
          </a:prstGeom>
          <a:ln w="38100">
            <a:solidFill>
              <a:srgbClr val="00009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/>
          <p:cNvSpPr/>
          <p:nvPr/>
        </p:nvSpPr>
        <p:spPr>
          <a:xfrm>
            <a:off x="977055" y="1303106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971600" y="213970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971600" y="285978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971600" y="3552362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33467423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691680" y="1303145"/>
            <a:ext cx="69847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Négociations prévoyance:</a:t>
            </a: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Poursuivies d’ici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té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E et la FPT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Initiée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ancement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de négociations et de groupes de travail sur 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chantier de refonte des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accès, des parcours de carrière et des rémunérations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, en s’appuyant sur un accord de méthode et en approfondissant les conditions du dialogue et de la négociation sur la politique salariale</a:t>
            </a:r>
            <a:endParaRPr lang="fr-FR" sz="14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programme Fonction publique +, en priorisant sur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galité professionnelle, le logement et les conditions de travai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328860"/>
            <a:ext cx="8352928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suivre avec vous les chantiers de la prévoyance et de l’attractivité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26" y="2859782"/>
            <a:ext cx="758601" cy="758601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7" y="1303145"/>
            <a:ext cx="759600" cy="7596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3002309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/>
        </p:nvGrpSpPr>
        <p:grpSpPr>
          <a:xfrm>
            <a:off x="1475656" y="2948548"/>
            <a:ext cx="1718309" cy="1718309"/>
            <a:chOff x="7236296" y="1675180"/>
            <a:chExt cx="792088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41187" y="1901947"/>
              <a:ext cx="782305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1,5% de point d’indic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Revalorisation effective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uillet 23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5873560" y="2938665"/>
            <a:ext cx="1866792" cy="1718309"/>
            <a:chOff x="7202073" y="1675180"/>
            <a:chExt cx="860534" cy="792088"/>
          </a:xfrm>
        </p:grpSpPr>
        <p:sp>
          <p:nvSpPr>
            <p:cNvPr id="17" name="Ellipse 1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7202073" y="1901947"/>
              <a:ext cx="860534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5pts d’indice attribués à tous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+25€/mois, effectif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3404353" y="895114"/>
            <a:ext cx="2258818" cy="2079154"/>
            <a:chOff x="7202073" y="1675180"/>
            <a:chExt cx="860534" cy="792088"/>
          </a:xfrm>
        </p:grpSpPr>
        <p:sp>
          <p:nvSpPr>
            <p:cNvPr id="29" name="Ellipse 2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7202073" y="1873850"/>
              <a:ext cx="860534" cy="539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2,5% progression annuelle indiciaire moyenn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En cumulé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  <a:endParaRPr lang="fr-FR" sz="1000" b="1" dirty="0">
                <a:latin typeface="Marianne" panose="02000000000000000000" pitchFamily="2" charset="0"/>
              </a:endParaRPr>
            </a:p>
            <a:p>
              <a:pPr algn="ctr"/>
              <a:endParaRPr lang="fr-FR" sz="1600" b="1" dirty="0">
                <a:latin typeface="Marianne" panose="02000000000000000000" pitchFamily="2" charset="0"/>
              </a:endParaRPr>
            </a:p>
            <a:p>
              <a:pPr algn="ctr"/>
              <a:endParaRPr lang="fr-FR" sz="1200" i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Deux mesures indiciaires socle pour tous les agents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862864" y="3298705"/>
            <a:ext cx="1341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latin typeface="Marianne" panose="02000000000000000000" pitchFamily="2" charset="0"/>
              </a:rPr>
              <a:t>Soit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22160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19281" y="198702"/>
            <a:ext cx="8143381" cy="689107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971600" y="847781"/>
            <a:ext cx="1168666" cy="1147905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Jusqu’à </a:t>
            </a:r>
          </a:p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+ 9 points 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d’indice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(532€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762487" y="741354"/>
            <a:ext cx="60292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Jusqu’à 9 points d’indices majorés 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supplémentaires pour rétablir la </a:t>
            </a: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progressivité des rémunérations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, sur la base du relèvement de l’indice minimum de traitement (IMT) au niveau du SMIC en 202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Un  gain indiciaire entre chaque échelon du bas de la catégorie C et de la catégorie 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384 0</a:t>
            </a:r>
            <a:r>
              <a:rPr lang="fr-FR" sz="1200" dirty="0">
                <a:latin typeface="Marianne" panose="02000000000000000000" pitchFamily="2" charset="0"/>
              </a:rPr>
              <a:t>00 agents dans la FPE, 803 000 dans la FPT et 255 000 dans la FPH</a:t>
            </a:r>
            <a:endParaRPr lang="fr-FR" sz="1200" dirty="0">
              <a:latin typeface="Marianne" panose="020000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3568" y="398628"/>
            <a:ext cx="7848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mesure spécifique « bas de grille »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838" y="2126349"/>
            <a:ext cx="7522332" cy="2432813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308994" y="832677"/>
            <a:ext cx="216024" cy="1130705"/>
            <a:chOff x="2339752" y="1682362"/>
            <a:chExt cx="216024" cy="1130705"/>
          </a:xfrm>
        </p:grpSpPr>
        <p:cxnSp>
          <p:nvCxnSpPr>
            <p:cNvPr id="18" name="Connecteur droit 17"/>
            <p:cNvCxnSpPr/>
            <p:nvPr/>
          </p:nvCxnSpPr>
          <p:spPr>
            <a:xfrm>
              <a:off x="2447764" y="1682362"/>
              <a:ext cx="0" cy="113070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18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5" name="ZoneTexte 1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9240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1662354" y="3435846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19672" y="1131590"/>
            <a:ext cx="705678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a reprise pour la fonction publique d’un levier de soutien au pouvoir d’achat pratiqué dans le secteur privé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, dans une logique d’équité et d’efficacité, au bénéfice des agents les plus impactés par l’inflation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e prime dégressive de 800 à 300€ bru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our les agents percevant une rémunération mensuelle brut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 250 €/mois 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rès d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50 % des agents de l’Eta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e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70 % des agents publics hospitalier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la percevront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Un versemen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avant fin 2023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 outil de politique salariale pour les collectivité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qui souhaiteraient la verser à leurs agents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prime « pouvoir d’achat » pour 50% des agents de la FPE et 70% des agents de la FPH, d’un montant allant jusqu’à 800€ brut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021775"/>
            <a:ext cx="576000" cy="576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217348"/>
            <a:ext cx="576000" cy="576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370097"/>
            <a:ext cx="576000" cy="5760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695936"/>
            <a:ext cx="576000" cy="576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4044257"/>
            <a:ext cx="576000" cy="576000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87926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24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1"/>
          <p:cNvSpPr txBox="1">
            <a:spLocks/>
          </p:cNvSpPr>
          <p:nvPr/>
        </p:nvSpPr>
        <p:spPr>
          <a:xfrm>
            <a:off x="400104" y="355852"/>
            <a:ext cx="799936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n synthèse, un paquet « pouvoir d’achat » inédit pour soutenir notamment le pouvoir d’achat des bas et moyens salaires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2742406" y="2255391"/>
            <a:ext cx="1584176" cy="1458173"/>
            <a:chOff x="7202073" y="1675180"/>
            <a:chExt cx="860534" cy="792088"/>
          </a:xfrm>
        </p:grpSpPr>
        <p:sp>
          <p:nvSpPr>
            <p:cNvPr id="9" name="Ellipse 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7202073" y="186040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800 à 300€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brut en prime « pouvoir d’achat » à la majorité des 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agents</a:t>
              </a:r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676076" y="2255391"/>
            <a:ext cx="1584176" cy="1458173"/>
            <a:chOff x="7202073" y="1675180"/>
            <a:chExt cx="860534" cy="792088"/>
          </a:xfrm>
        </p:grpSpPr>
        <p:sp>
          <p:nvSpPr>
            <p:cNvPr id="12" name="Ellipse 1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7202073" y="1846818"/>
              <a:ext cx="860534" cy="478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2,5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progression indiciaire moyenne en 2 étapes*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4729532" y="2255391"/>
            <a:ext cx="1742595" cy="1458173"/>
            <a:chOff x="7159048" y="1675180"/>
            <a:chExt cx="946588" cy="792088"/>
          </a:xfrm>
        </p:grpSpPr>
        <p:sp>
          <p:nvSpPr>
            <p:cNvPr id="15" name="Ellipse 14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7159048" y="1853613"/>
              <a:ext cx="946588" cy="60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13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gain de rémunération pour un agent cat C au 2</a:t>
              </a:r>
              <a:r>
                <a:rPr lang="fr-FR" sz="1000" i="1" baseline="30000" dirty="0">
                  <a:latin typeface="Marianne" panose="02000000000000000000" pitchFamily="2" charset="0"/>
                </a:rPr>
                <a:t>nd</a:t>
              </a:r>
              <a:r>
                <a:rPr lang="fr-FR" sz="1000" i="1" dirty="0">
                  <a:latin typeface="Marianne" panose="02000000000000000000" pitchFamily="2" charset="0"/>
                </a:rPr>
                <a:t> semestr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23 vs. janvier 23</a:t>
              </a: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6875067" y="2255391"/>
            <a:ext cx="1584176" cy="1458173"/>
            <a:chOff x="7202073" y="1675180"/>
            <a:chExt cx="860534" cy="792088"/>
          </a:xfrm>
        </p:grpSpPr>
        <p:sp>
          <p:nvSpPr>
            <p:cNvPr id="18" name="Ellipse 1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7202073" y="184681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7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</a:t>
              </a:r>
              <a:r>
                <a:rPr lang="fr-FR" sz="1000" i="1" u="sng" dirty="0">
                  <a:latin typeface="Marianne" panose="02000000000000000000" pitchFamily="2" charset="0"/>
                </a:rPr>
                <a:t>progression indiciaire</a:t>
              </a:r>
              <a:r>
                <a:rPr lang="fr-FR" sz="1000" i="1" dirty="0">
                  <a:latin typeface="Marianne" panose="02000000000000000000" pitchFamily="2" charset="0"/>
                </a:rPr>
                <a:t> pour un agent cat C en janvier 24 vs. janvier 23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4488283" y="1880493"/>
            <a:ext cx="216024" cy="2203425"/>
            <a:chOff x="2339752" y="1146002"/>
            <a:chExt cx="216024" cy="2203425"/>
          </a:xfrm>
        </p:grpSpPr>
        <p:cxnSp>
          <p:nvCxnSpPr>
            <p:cNvPr id="24" name="Connecteur droit 23"/>
            <p:cNvCxnSpPr/>
            <p:nvPr/>
          </p:nvCxnSpPr>
          <p:spPr>
            <a:xfrm>
              <a:off x="2447764" y="1146002"/>
              <a:ext cx="0" cy="22034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26" name="ZoneTexte 25"/>
          <p:cNvSpPr txBox="1"/>
          <p:nvPr/>
        </p:nvSpPr>
        <p:spPr>
          <a:xfrm>
            <a:off x="646022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La combinaison de deux mesures indiciaires et de la prime...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4817313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…pour soutenir en priorité le pouvoir d’achat des bas salaires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23036" y="4568229"/>
            <a:ext cx="41049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Revalorisation du point et en juillet 2023 et distribution de 5 points en janvier 2024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75815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Sur le second semestre 2023, jusqu’à +13% de gain de rémunération pour les plus bas salaires par rapport à janvier 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  <a:endParaRPr lang="fr-FR" sz="1000" i="1" dirty="0">
              <a:latin typeface="Marianne" panose="02000000000000000000" pitchFamily="2" charset="0"/>
            </a:endParaRP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1950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Effet de la prime de 800€ brut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 perçue à compter de septembre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en équivalent mensuel au second semestr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7461" y="289540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  <a:endParaRPr lang="fr-FR" sz="1000" dirty="0">
              <a:latin typeface="Marianne" panose="02000000000000000000" pitchFamily="2" charset="0"/>
            </a:endParaRP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7"/>
              <a:ext cx="860534" cy="347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uillet-déc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33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05427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28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662553" y="4211020"/>
            <a:ext cx="17251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13% de gain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568055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Au 1</a:t>
            </a:r>
            <a:r>
              <a:rPr lang="fr-FR" sz="2000" baseline="30000" dirty="0">
                <a:latin typeface="Marianne" panose="02000000000000000000" pitchFamily="2" charset="0"/>
              </a:rPr>
              <a:t>er</a:t>
            </a:r>
            <a:r>
              <a:rPr lang="fr-FR" sz="2000" dirty="0">
                <a:latin typeface="Marianne" panose="02000000000000000000" pitchFamily="2" charset="0"/>
              </a:rPr>
              <a:t> janvier 2024, jusqu’à +7% de gain indiciaire pour </a:t>
            </a:r>
          </a:p>
          <a:p>
            <a:r>
              <a:rPr lang="fr-FR" sz="2000" dirty="0">
                <a:latin typeface="Marianne" panose="02000000000000000000" pitchFamily="2" charset="0"/>
              </a:rPr>
              <a:t>les plus bas salaires sur l’année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2117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5 points d’indic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6947" y="293179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an. 24 vs jan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5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14223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20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377038" y="4254020"/>
            <a:ext cx="2296197" cy="248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7% de gain indiciaire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26134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Illustrations de l’impact sur le pouvoir d’achat des agent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127440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D2&quot; g=&quot;EB&quot; b=&quot;E1&quot;/&gt;&lt;/elem&gt;&lt;elem m_fUsage=&quot;1.53899999999999992362E+00&quot;&gt;&lt;m_msothmcolidx val=&quot;0&quot;/&gt;&lt;m_rgb r=&quot;98&quot; g=&quot;D3&quot; b=&quot;B9&quot;/&gt;&lt;/elem&gt;&lt;elem m_fUsage=&quot;6.56100000000000127542E-01&quot;&gt;&lt;m_msothmcolidx val=&quot;0&quot;/&gt;&lt;m_rgb r=&quot;8F&quot; g=&quot;80&quot; b=&quot;E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_th96k1M_zGDsNaD6c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ZEtVCYwxa4sxSr0rK0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_.xigzmqPFNpRUBQA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yQZV7R8IX34XnS1BDM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nHk6kF..XJ9ioDTGCM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JEsammnSgvLlk0fHKu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XGa.XVIt4Qauj6P5U_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oilLEcad1viIwTaRa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EO3xFQCPydqX9lm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YPrEKE6WprUc96cfV_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MjtaSQyqjKBJpRxCz8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p4yj_CvMvpGMuyaA8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2rSI0Gg.0ld.JTjgBpg"/>
</p:tagLst>
</file>

<file path=ppt/theme/theme1.xml><?xml version="1.0" encoding="utf-8"?>
<a:theme xmlns:a="http://schemas.openxmlformats.org/drawingml/2006/main" name="PREMIER MINISTRE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3" id="{909F38A1-C682-0443-9F96-C6B31A12C496}" vid="{1D6C4476-8D06-624F-B47C-947A67207A5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7</TotalTime>
  <Words>2052</Words>
  <Application>Microsoft Office PowerPoint</Application>
  <PresentationFormat>Affichage à l'écran (16:9)</PresentationFormat>
  <Paragraphs>298</Paragraphs>
  <Slides>25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ourier New</vt:lpstr>
      <vt:lpstr>Marianne</vt:lpstr>
      <vt:lpstr>Wingdings</vt:lpstr>
      <vt:lpstr>PREMIER MINISTR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>Client</Manager>
  <Company>Secrétariat Génér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TARDIEU Victoria</dc:creator>
  <cp:lastModifiedBy>Samuel SERVIERE</cp:lastModifiedBy>
  <cp:revision>835</cp:revision>
  <cp:lastPrinted>2022-06-24T10:01:59Z</cp:lastPrinted>
  <dcterms:created xsi:type="dcterms:W3CDTF">2020-10-20T13:57:32Z</dcterms:created>
  <dcterms:modified xsi:type="dcterms:W3CDTF">2023-06-13T07:42:04Z</dcterms:modified>
</cp:coreProperties>
</file>